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4"/>
    <p:sldMasterId id="2147484419" r:id="rId5"/>
    <p:sldMasterId id="2147484427" r:id="rId6"/>
    <p:sldMasterId id="2147484434" r:id="rId7"/>
    <p:sldMasterId id="2147484502" r:id="rId8"/>
    <p:sldMasterId id="2147484522" r:id="rId9"/>
    <p:sldMasterId id="2147484552" r:id="rId10"/>
  </p:sldMasterIdLst>
  <p:notesMasterIdLst>
    <p:notesMasterId r:id="rId20"/>
  </p:notesMasterIdLst>
  <p:handoutMasterIdLst>
    <p:handoutMasterId r:id="rId21"/>
  </p:handoutMasterIdLst>
  <p:sldIdLst>
    <p:sldId id="1656" r:id="rId11"/>
    <p:sldId id="1658" r:id="rId12"/>
    <p:sldId id="1664" r:id="rId13"/>
    <p:sldId id="1657" r:id="rId14"/>
    <p:sldId id="1659" r:id="rId15"/>
    <p:sldId id="1662" r:id="rId16"/>
    <p:sldId id="1661" r:id="rId17"/>
    <p:sldId id="1663" r:id="rId18"/>
    <p:sldId id="1665" r:id="rId19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3">
          <p15:clr>
            <a:srgbClr val="A4A3A4"/>
          </p15:clr>
        </p15:guide>
        <p15:guide id="2" pos="39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0808"/>
    <a:srgbClr val="000000"/>
    <a:srgbClr val="3558C9"/>
    <a:srgbClr val="1F2177"/>
    <a:srgbClr val="002050"/>
    <a:srgbClr val="FF9900"/>
    <a:srgbClr val="FFCC00"/>
    <a:srgbClr val="005AA1"/>
    <a:srgbClr val="FCB713"/>
    <a:srgbClr val="0028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6299" autoAdjust="0"/>
  </p:normalViewPr>
  <p:slideViewPr>
    <p:cSldViewPr snapToGrid="0">
      <p:cViewPr varScale="1">
        <p:scale>
          <a:sx n="66" d="100"/>
          <a:sy n="66" d="100"/>
        </p:scale>
        <p:origin x="1018" y="48"/>
      </p:cViewPr>
      <p:guideLst>
        <p:guide orient="horz" pos="2203"/>
        <p:guide pos="39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1/28/2017 7:13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381000" y="4321432"/>
            <a:ext cx="6096000" cy="413676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87552"/>
            <a:ext cx="1926660" cy="24311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566930" y="202169"/>
            <a:ext cx="39100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Cortana Intelligence Suite Workshop Class Notebook</a:t>
            </a:r>
            <a:endParaRPr lang="en-US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11/28/2017 7:12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3730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2991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3730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3730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373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3730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3730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achine Learning, Analytics, &amp; Data Science Conferenc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1467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A02ADDEA-1593-4BF6-82FC-4D1690AE5C33}" type="datetime8">
              <a:rPr lang="en-US" smtClean="0"/>
              <a:t>11/28/2017 7:1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899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21653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071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60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11252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75646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14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01736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80296" y="233151"/>
            <a:ext cx="1986146" cy="73029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985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335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3878" y="1632056"/>
            <a:ext cx="12128721" cy="4668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43199" y="6606832"/>
            <a:ext cx="8550077" cy="387694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949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32678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3878" y="1632056"/>
            <a:ext cx="12128721" cy="458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727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60018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8746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27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3032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3708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6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54464"/>
            <a:ext cx="10262765" cy="18743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3388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5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63564"/>
            <a:ext cx="10262764" cy="18652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88152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067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481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722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0" y="2959722"/>
            <a:ext cx="2902056" cy="106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45246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80469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257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71787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9350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695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83847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82063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60910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03834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9571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016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6587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42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02907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399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45518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787257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10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57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05674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7782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5751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95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33524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036400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70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49637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12298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29169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66146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25606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31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100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55077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83616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079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89157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57108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31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02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73375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01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5008" y="372395"/>
            <a:ext cx="10726460" cy="13519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FCBA4302-AB3A-4B30-AA1E-4FC776169C46}" type="datetimeFigureOut">
              <a:rPr lang="en-US" smtClean="0">
                <a:solidFill>
                  <a:srgbClr val="FFFFFF"/>
                </a:solidFill>
              </a:rPr>
              <a:pPr defTabSz="932418"/>
              <a:t>11/28/201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/>
          <a:lstStyle/>
          <a:p>
            <a:pPr defTabSz="93241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238D2EFD-9BE3-4DA5-8511-61AA80F92140}" type="slidenum">
              <a:rPr lang="en-US" smtClean="0">
                <a:solidFill>
                  <a:srgbClr val="FFFFFF"/>
                </a:solidFill>
              </a:rPr>
              <a:pPr defTabSz="93241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870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u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63971" y="1350546"/>
            <a:ext cx="4358791" cy="4949771"/>
          </a:xfrm>
        </p:spPr>
        <p:txBody>
          <a:bodyPr wrap="square">
            <a:normAutofit/>
          </a:bodyPr>
          <a:lstStyle>
            <a:lvl1pPr marL="0" indent="0">
              <a:lnSpc>
                <a:spcPct val="100000"/>
              </a:lnSpc>
              <a:spcBef>
                <a:spcPts val="1199"/>
              </a:spcBef>
              <a:spcAft>
                <a:spcPts val="1199"/>
              </a:spcAft>
              <a:buClr>
                <a:schemeClr val="tx1"/>
              </a:buClr>
              <a:buFont typeface="Wingdings" pitchFamily="2" charset="2"/>
              <a:buNone/>
              <a:defRPr sz="24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1199"/>
              </a:spcAft>
              <a:buNone/>
              <a:defRPr sz="1960">
                <a:solidFill>
                  <a:schemeClr val="tx1"/>
                </a:solidFill>
              </a:defRPr>
            </a:lvl2pPr>
            <a:lvl3pPr marL="227165" indent="0">
              <a:lnSpc>
                <a:spcPct val="100000"/>
              </a:lnSpc>
              <a:spcAft>
                <a:spcPts val="1199"/>
              </a:spcAft>
              <a:buNone/>
              <a:tabLst/>
              <a:defRPr sz="1960">
                <a:solidFill>
                  <a:schemeClr val="tx1"/>
                </a:solidFill>
              </a:defRPr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-1200" y="6642289"/>
            <a:ext cx="12436794" cy="360996"/>
            <a:chOff x="2577137" y="4571778"/>
            <a:chExt cx="9101124" cy="1390560"/>
          </a:xfrm>
        </p:grpSpPr>
        <p:sp>
          <p:nvSpPr>
            <p:cNvPr id="12" name="TextBox 11"/>
            <p:cNvSpPr txBox="1"/>
            <p:nvPr/>
          </p:nvSpPr>
          <p:spPr>
            <a:xfrm>
              <a:off x="2577137" y="4571778"/>
              <a:ext cx="3034890" cy="1390458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612027" y="4572324"/>
              <a:ext cx="6066234" cy="139001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 lIns="457135" tIns="137141" rIns="639989" rtlCol="0">
              <a:noAutofit/>
            </a:bodyPr>
            <a:lstStyle/>
            <a:p>
              <a:pPr defTabSz="931877">
                <a:lnSpc>
                  <a:spcPts val="3001"/>
                </a:lnSpc>
                <a:defRPr/>
              </a:pPr>
              <a:endParaRPr lang="en-US" sz="2856" kern="0" dirty="0">
                <a:solidFill>
                  <a:srgbClr val="FFFFFF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29398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6078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4676" y="1377435"/>
            <a:ext cx="6886900" cy="4923061"/>
          </a:xfr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square">
            <a:normAutofit/>
          </a:bodyPr>
          <a:lstStyle>
            <a:lvl1pPr marL="0" indent="0" defTabSz="372967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836" baseline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72967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45933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118901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91868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3" name="TextBox 12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564439" y="1350964"/>
            <a:ext cx="4598987" cy="11079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2400" kern="1200" dirty="0" smtClean="0">
                <a:solidFill>
                  <a:schemeClr val="accent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1959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Segoe UI Semibold" panose="020B0702040204020203" pitchFamily="34" charset="0"/>
              </a:defRPr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marL="0" lvl="0" indent="0" algn="l" defTabSz="931684" rtl="0" fontAlgn="base">
              <a:lnSpc>
                <a:spcPct val="100000"/>
              </a:lnSpc>
              <a:spcBef>
                <a:spcPts val="1224"/>
              </a:spcBef>
              <a:spcAft>
                <a:spcPts val="1199"/>
              </a:spcAft>
              <a:buClr>
                <a:schemeClr val="tx1"/>
              </a:buClr>
              <a:buSzPct val="90000"/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defTabSz="931684" rtl="0" fontAlgn="base">
              <a:lnSpc>
                <a:spcPct val="100000"/>
              </a:lnSpc>
              <a:spcBef>
                <a:spcPts val="612"/>
              </a:spcBef>
              <a:spcAft>
                <a:spcPts val="1199"/>
              </a:spcAft>
              <a:buSzPct val="90000"/>
              <a:buFont typeface="Arial" charset="0"/>
              <a:buNone/>
            </a:pPr>
            <a:r>
              <a:rPr lang="en-US" dirty="0"/>
              <a:t>Second level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241" y="428194"/>
            <a:ext cx="11649456" cy="742187"/>
          </a:xfrm>
        </p:spPr>
        <p:txBody>
          <a:bodyPr lIns="146304" tIns="91440" rIns="146304" bIns="91440" anchor="ctr" anchorCtr="0"/>
          <a:lstStyle>
            <a:lvl1pPr marL="0" indent="0">
              <a:buNone/>
              <a:defRPr sz="3999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5pPr marL="102850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76771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.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2" name="TextBox 11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1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564439" y="1350963"/>
            <a:ext cx="4598987" cy="35735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sz="3199">
                <a:solidFill>
                  <a:srgbClr val="C00000"/>
                </a:solidFill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82764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6666348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262637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32563"/>
            <a:r>
              <a:rPr lang="en-US"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32563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32563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2" y="3954457"/>
            <a:ext cx="5197379" cy="1018969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77"/>
            <a:ext cx="5187450" cy="1828800"/>
          </a:xfrm>
          <a:noFill/>
        </p:spPr>
        <p:txBody>
          <a:bodyPr lIns="146304" tIns="91440" rIns="146304" bIns="91440" anchor="t" anchorCtr="0"/>
          <a:lstStyle>
            <a:lvl1pPr>
              <a:defRPr sz="5999" spc="-10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9" name="Picture 8" descr="C:\Users\petern\AppData\Local\Temp\vmware-petern\VMwareDnD\8013908a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4667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02">
          <p15:clr>
            <a:srgbClr val="C35EA4"/>
          </p15:clr>
        </p15:guide>
        <p15:guide id="2" orient="horz" pos="4104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pt Title/24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64964"/>
            <a:ext cx="9143999" cy="1097302"/>
          </a:xfrm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3599">
                <a:solidFill>
                  <a:srgbClr val="BA141A"/>
                </a:solidFill>
              </a:defRPr>
            </a:lvl1pPr>
          </a:lstStyle>
          <a:p>
            <a:pPr marL="0" lvl="0">
              <a:lnSpc>
                <a:spcPts val="3599"/>
              </a:lnSpc>
              <a:spcBef>
                <a:spcPts val="864"/>
              </a:spcBef>
            </a:pPr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/>
          <a:p>
            <a:pPr defTabSz="932563"/>
            <a:r>
              <a:rPr lang="en-US" dirty="0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defTabSz="932563"/>
            <a:fld id="{27258FFF-F925-446B-8502-81C93398170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32563"/>
              <a:t>‹#›</a:t>
            </a:fld>
            <a:endParaRPr lang="en-US" dirty="0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8" y="2125664"/>
            <a:ext cx="9144000" cy="2450084"/>
          </a:xfrm>
        </p:spPr>
        <p:txBody>
          <a:bodyPr/>
          <a:lstStyle>
            <a:lvl1pPr marL="233318" indent="-233318">
              <a:spcBef>
                <a:spcPts val="1199"/>
              </a:spcBef>
              <a:defRPr sz="2400">
                <a:latin typeface="+mn-lt"/>
              </a:defRPr>
            </a:lvl1pPr>
            <a:lvl2pPr marL="690430" indent="-233318">
              <a:spcBef>
                <a:spcPts val="1199"/>
              </a:spcBef>
              <a:buSzPct val="100000"/>
              <a:buFont typeface="Segoe UI" pitchFamily="34" charset="0"/>
              <a:buChar char="‐"/>
              <a:defRPr sz="2000"/>
            </a:lvl2pPr>
            <a:lvl3pPr marL="1147543" indent="-233318">
              <a:spcBef>
                <a:spcPts val="1199"/>
              </a:spcBef>
              <a:buFont typeface="Wingdings" pitchFamily="2" charset="2"/>
              <a:buChar char="§"/>
              <a:defRPr sz="1800"/>
            </a:lvl3pPr>
            <a:lvl4pPr marL="1599893" indent="-342834">
              <a:spcBef>
                <a:spcPts val="1199"/>
              </a:spcBef>
              <a:buFont typeface="+mj-lt"/>
              <a:buAutoNum type="arabicPeriod"/>
              <a:defRPr sz="1599"/>
            </a:lvl4pPr>
            <a:lvl5pPr marL="1945901" indent="-342834">
              <a:spcBef>
                <a:spcPts val="1199"/>
              </a:spcBef>
              <a:buFont typeface="+mj-lt"/>
              <a:buAutoNum type="alphaLcParenR"/>
              <a:defRPr sz="1599"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571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57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932563"/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898989"/>
                </a:solidFill>
              </a:defRPr>
            </a:lvl1pPr>
          </a:lstStyle>
          <a:p>
            <a:pPr defTabSz="932563"/>
            <a:fld id="{27258FFF-F925-446B-8502-81C933981705}" type="slidenum">
              <a:rPr lang="en-US" smtClean="0"/>
              <a:pPr defTabSz="93256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4642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4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97175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43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660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73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1713297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code and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95275"/>
            <a:ext cx="7114249" cy="91757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7" y="1221158"/>
            <a:ext cx="7114250" cy="1654271"/>
          </a:xfrm>
        </p:spPr>
        <p:txBody>
          <a:bodyPr/>
          <a:lstStyle>
            <a:lvl1pPr marL="0" indent="0">
              <a:buNone/>
              <a:defRPr sz="2856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 sz="1836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 sz="1632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 sz="1428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 sz="1428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663525" y="0"/>
            <a:ext cx="4772949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8013688" y="295275"/>
            <a:ext cx="4111875" cy="2162796"/>
          </a:xfrm>
        </p:spPr>
        <p:txBody>
          <a:bodyPr/>
          <a:lstStyle>
            <a:lvl1pPr marL="0" indent="0">
              <a:buNone/>
              <a:defRPr sz="3264">
                <a:solidFill>
                  <a:schemeClr val="bg1"/>
                </a:solidFill>
                <a:latin typeface="+mn-lt"/>
              </a:defRPr>
            </a:lvl1pPr>
            <a:lvl2pPr marL="342834" indent="0">
              <a:buNone/>
              <a:defRPr sz="1836">
                <a:solidFill>
                  <a:schemeClr val="bg1"/>
                </a:solidFill>
                <a:latin typeface="+mn-lt"/>
              </a:defRPr>
            </a:lvl2pPr>
            <a:lvl3pPr marL="571390" indent="0">
              <a:buNone/>
              <a:defRPr sz="1632">
                <a:solidFill>
                  <a:schemeClr val="bg1"/>
                </a:solidFill>
                <a:latin typeface="+mn-lt"/>
              </a:defRPr>
            </a:lvl3pPr>
            <a:lvl4pPr marL="799946" indent="0">
              <a:buNone/>
              <a:defRPr sz="1428">
                <a:solidFill>
                  <a:schemeClr val="bg1"/>
                </a:solidFill>
                <a:latin typeface="+mn-lt"/>
              </a:defRPr>
            </a:lvl4pPr>
            <a:lvl5pPr marL="1028502" indent="0">
              <a:buNone/>
              <a:defRPr sz="1428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68234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12993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8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80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82.xml"/><Relationship Id="rId4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1" r:id="rId1"/>
    <p:sldLayoutId id="2147484247" r:id="rId2"/>
    <p:sldLayoutId id="2147484256" r:id="rId3"/>
    <p:sldLayoutId id="2147484268" r:id="rId4"/>
    <p:sldLayoutId id="2147484416" r:id="rId5"/>
    <p:sldLayoutId id="2147484417" r:id="rId6"/>
    <p:sldLayoutId id="2147484418" r:id="rId7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96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9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3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2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436475" cy="658903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99" y="6606832"/>
            <a:ext cx="8550077" cy="387694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3878" y="1632058"/>
            <a:ext cx="12128721" cy="4650299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9937" y="6606832"/>
            <a:ext cx="777278" cy="3876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18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</p:sldLayoutIdLst>
  <p:transition>
    <p:fade/>
  </p:transition>
  <p:hf hdr="0" ftr="0" dt="0"/>
  <p:txStyles>
    <p:titleStyle>
      <a:lvl1pPr marL="0" algn="l" defTabSz="1109758" rtl="0" eaLnBrk="1" latinLnBrk="0" hangingPunct="1">
        <a:lnSpc>
          <a:spcPct val="90000"/>
        </a:lnSpc>
        <a:spcBef>
          <a:spcPct val="0"/>
        </a:spcBef>
        <a:buNone/>
        <a:defRPr lang="en-US" sz="4080" kern="1200" spc="-59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109758" rtl="0" eaLnBrk="1" latinLnBrk="0" hangingPunct="1">
        <a:spcBef>
          <a:spcPts val="1836"/>
        </a:spcBef>
        <a:buClr>
          <a:srgbClr val="0072C6"/>
        </a:buClr>
        <a:buSzPct val="100000"/>
        <a:buFont typeface="Wingdings" pitchFamily="2" charset="2"/>
        <a:buNone/>
        <a:defRPr sz="2448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85544" indent="-198264" algn="l" defTabSz="1109758" rtl="0" eaLnBrk="1" latinLnBrk="0" hangingPunct="1">
        <a:spcBef>
          <a:spcPct val="20000"/>
        </a:spcBef>
        <a:buFont typeface="Arial" pitchFamily="34" charset="0"/>
        <a:buChar char="•"/>
        <a:defRPr sz="183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76870" indent="-176683" algn="l" defTabSz="1109758" rtl="0" eaLnBrk="1" latinLnBrk="0" hangingPunct="1">
        <a:spcBef>
          <a:spcPct val="20000"/>
        </a:spcBef>
        <a:buFont typeface="Arial" pitchFamily="34" charset="0"/>
        <a:buChar char="•"/>
        <a:defRPr sz="1632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68196" indent="-180730" algn="l" defTabSz="1109758" rtl="0" eaLnBrk="1" latinLnBrk="0" hangingPunct="1">
        <a:spcBef>
          <a:spcPct val="20000"/>
        </a:spcBef>
        <a:buFont typeface="Arial" pitchFamily="34" charset="0"/>
        <a:buChar char="–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310968" indent="-183428" algn="l" defTabSz="1109758" rtl="0" eaLnBrk="1" latinLnBrk="0" hangingPunct="1">
        <a:spcBef>
          <a:spcPct val="20000"/>
        </a:spcBef>
        <a:buFont typeface="Arial" pitchFamily="34" charset="0"/>
        <a:buChar char="»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3051837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60671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161596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71647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1pPr>
      <a:lvl2pPr marL="55488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2pPr>
      <a:lvl3pPr marL="110975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3pPr>
      <a:lvl4pPr marL="1664639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4pPr>
      <a:lvl5pPr marL="221951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5pPr>
      <a:lvl6pPr marL="2774397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6pPr>
      <a:lvl7pPr marL="332927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7pPr>
      <a:lvl8pPr marL="388415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8pPr>
      <a:lvl9pPr marL="4439035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6530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03" r:id="rId1"/>
    <p:sldLayoutId id="2147484504" r:id="rId2"/>
    <p:sldLayoutId id="2147484505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4" r:id="rId12"/>
    <p:sldLayoutId id="2147484515" r:id="rId13"/>
    <p:sldLayoutId id="2147484516" r:id="rId14"/>
    <p:sldLayoutId id="2147484517" r:id="rId15"/>
    <p:sldLayoutId id="2147484518" r:id="rId16"/>
    <p:sldLayoutId id="2147484519" r:id="rId17"/>
    <p:sldLayoutId id="2147484520" r:id="rId18"/>
    <p:sldLayoutId id="2147484521" r:id="rId1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97327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2" r:id="rId10"/>
    <p:sldLayoutId id="2147484533" r:id="rId11"/>
    <p:sldLayoutId id="2147484534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  <p:sldLayoutId id="2147484541" r:id="rId19"/>
    <p:sldLayoutId id="2147484542" r:id="rId20"/>
    <p:sldLayoutId id="2147484543" r:id="rId21"/>
    <p:sldLayoutId id="2147484544" r:id="rId22"/>
    <p:sldLayoutId id="2147484545" r:id="rId23"/>
    <p:sldLayoutId id="2147484546" r:id="rId24"/>
    <p:sldLayoutId id="2147484547" r:id="rId25"/>
    <p:sldLayoutId id="2147484548" r:id="rId26"/>
    <p:sldLayoutId id="2147484549" r:id="rId27"/>
    <p:sldLayoutId id="2147484550" r:id="rId28"/>
    <p:sldLayoutId id="2147484551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811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  <p:sldLayoutId id="2147484558" r:id="rId6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icrosoft/BotBuilder-Samples/tree/master/CSharp/core-Middlewar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68812" y="4396284"/>
            <a:ext cx="6635041" cy="158812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+mj-lt"/>
              </a:rPr>
              <a:t>Mithun Prasad, PhD</a:t>
            </a:r>
            <a:br>
              <a:rPr lang="en-US" sz="2800" dirty="0">
                <a:solidFill>
                  <a:srgbClr val="000000"/>
                </a:solidFill>
                <a:latin typeface="+mj-lt"/>
              </a:rPr>
            </a:br>
            <a:r>
              <a:rPr lang="en-US" sz="2800" dirty="0">
                <a:solidFill>
                  <a:srgbClr val="000000"/>
                </a:solidFill>
                <a:latin typeface="+mj-lt"/>
              </a:rPr>
              <a:t>Applied Data Scientist</a:t>
            </a:r>
          </a:p>
          <a:p>
            <a:r>
              <a:rPr lang="en-US" sz="2800" dirty="0">
                <a:solidFill>
                  <a:srgbClr val="000000"/>
                </a:solidFill>
                <a:latin typeface="+mj-lt"/>
              </a:rPr>
              <a:t>Artificial Intelligence Group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1976" y="2510761"/>
            <a:ext cx="4544500" cy="4491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4906" y="676689"/>
            <a:ext cx="11136196" cy="2375999"/>
          </a:xfrm>
        </p:spPr>
        <p:txBody>
          <a:bodyPr>
            <a:noAutofit/>
          </a:bodyPr>
          <a:lstStyle/>
          <a:p>
            <a:r>
              <a:rPr lang="en-US" sz="5400" b="1" dirty="0">
                <a:solidFill>
                  <a:srgbClr val="080808"/>
                </a:solidFill>
              </a:rPr>
              <a:t>Logging Chat Conversations </a:t>
            </a:r>
            <a:br>
              <a:rPr lang="en-US" sz="5400" b="1" dirty="0">
                <a:solidFill>
                  <a:srgbClr val="080808"/>
                </a:solidFill>
              </a:rPr>
            </a:br>
            <a:r>
              <a:rPr lang="en-US" sz="5400" b="1" dirty="0">
                <a:solidFill>
                  <a:srgbClr val="080808"/>
                </a:solidFill>
              </a:rPr>
              <a:t>with </a:t>
            </a:r>
            <a:br>
              <a:rPr lang="en-US" sz="5400" b="1" dirty="0">
                <a:solidFill>
                  <a:srgbClr val="080808"/>
                </a:solidFill>
              </a:rPr>
            </a:br>
            <a:r>
              <a:rPr lang="en-US" sz="5400" b="1" dirty="0">
                <a:solidFill>
                  <a:srgbClr val="080808"/>
                </a:solidFill>
              </a:rPr>
              <a:t>Bot Framework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906" y="6182089"/>
            <a:ext cx="2514600" cy="536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881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00000"/>
                </a:solidFill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607015-6DE8-43FF-AC7F-0B296BC987D4}"/>
              </a:ext>
            </a:extLst>
          </p:cNvPr>
          <p:cNvSpPr txBox="1"/>
          <p:nvPr/>
        </p:nvSpPr>
        <p:spPr>
          <a:xfrm>
            <a:off x="564706" y="1592260"/>
            <a:ext cx="1088639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Why Log?</a:t>
            </a: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Intercept Messages</a:t>
            </a: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Code Highlights</a:t>
            </a:r>
          </a:p>
        </p:txBody>
      </p:sp>
    </p:spTree>
    <p:extLst>
      <p:ext uri="{BB962C8B-B14F-4D97-AF65-F5344CB8AC3E}">
        <p14:creationId xmlns:p14="http://schemas.microsoft.com/office/powerpoint/2010/main" val="261697277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00000"/>
                </a:solidFill>
              </a:rPr>
              <a:t>Why Log: Privacy Implicat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607015-6DE8-43FF-AC7F-0B296BC987D4}"/>
              </a:ext>
            </a:extLst>
          </p:cNvPr>
          <p:cNvSpPr txBox="1"/>
          <p:nvPr/>
        </p:nvSpPr>
        <p:spPr>
          <a:xfrm>
            <a:off x="564706" y="1592260"/>
            <a:ext cx="1088639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Bot Framework does not automatically save conversation</a:t>
            </a: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Capturing conversational details can potentially capture private information</a:t>
            </a: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Bots and users may not wish to share with outside parties</a:t>
            </a:r>
          </a:p>
        </p:txBody>
      </p:sp>
    </p:spTree>
    <p:extLst>
      <p:ext uri="{BB962C8B-B14F-4D97-AF65-F5344CB8AC3E}">
        <p14:creationId xmlns:p14="http://schemas.microsoft.com/office/powerpoint/2010/main" val="414338655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00000"/>
                </a:solidFill>
              </a:rPr>
              <a:t>Why Log: </a:t>
            </a:r>
            <a:r>
              <a:rPr lang="en-US" sz="5400" b="1" dirty="0">
                <a:solidFill>
                  <a:srgbClr val="080808"/>
                </a:solidFill>
              </a:rPr>
              <a:t>Chat Histor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607015-6DE8-43FF-AC7F-0B296BC987D4}"/>
              </a:ext>
            </a:extLst>
          </p:cNvPr>
          <p:cNvSpPr txBox="1"/>
          <p:nvPr/>
        </p:nvSpPr>
        <p:spPr>
          <a:xfrm>
            <a:off x="564706" y="1592260"/>
            <a:ext cx="1088639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9271" lvl="1" indent="-342900">
              <a:buFontTx/>
              <a:buChar char="-"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Learning to chat</a:t>
            </a:r>
          </a:p>
          <a:p>
            <a:pPr marL="809271" lvl="1" indent="-342900">
              <a:buFontTx/>
              <a:buChar char="-"/>
            </a:pPr>
            <a:endParaRPr lang="en-US" sz="2400" dirty="0">
              <a:solidFill>
                <a:srgbClr val="000000"/>
              </a:solidFill>
              <a:latin typeface="+mj-lt"/>
            </a:endParaRPr>
          </a:p>
          <a:p>
            <a:pPr marL="809271" lvl="1" indent="-342900">
              <a:buFontTx/>
              <a:buChar char="-"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Question-answering</a:t>
            </a:r>
          </a:p>
          <a:p>
            <a:pPr marL="809271" lvl="1" indent="-342900">
              <a:buFontTx/>
              <a:buChar char="-"/>
            </a:pPr>
            <a:endParaRPr lang="en-US" sz="2400" dirty="0">
              <a:solidFill>
                <a:srgbClr val="000000"/>
              </a:solidFill>
              <a:latin typeface="+mj-lt"/>
            </a:endParaRPr>
          </a:p>
          <a:p>
            <a:pPr marL="809271" lvl="1" indent="-342900">
              <a:buFontTx/>
              <a:buChar char="-"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Personality for Your Chatbot</a:t>
            </a:r>
          </a:p>
          <a:p>
            <a:pPr marL="809271" lvl="1" indent="-342900">
              <a:buFontTx/>
              <a:buChar char="-"/>
            </a:pPr>
            <a:endParaRPr lang="en-US" sz="2400" dirty="0">
              <a:solidFill>
                <a:srgbClr val="000000"/>
              </a:solidFill>
              <a:latin typeface="+mj-lt"/>
            </a:endParaRPr>
          </a:p>
          <a:p>
            <a:pPr marL="809271" lvl="1" indent="-342900">
              <a:buFontTx/>
              <a:buChar char="-"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Retrieval-based models</a:t>
            </a:r>
          </a:p>
          <a:p>
            <a:pPr marL="809271" lvl="1" indent="-342900">
              <a:buFontTx/>
              <a:buChar char="-"/>
            </a:pPr>
            <a:endParaRPr lang="en-US" sz="2400" dirty="0">
              <a:solidFill>
                <a:srgbClr val="000000"/>
              </a:solidFill>
              <a:latin typeface="+mj-lt"/>
            </a:endParaRPr>
          </a:p>
          <a:p>
            <a:pPr marL="809271" lvl="1" indent="-342900">
              <a:buFontTx/>
              <a:buChar char="-"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Lookup (with various degrees of sophistication) from a predefined set of answers</a:t>
            </a:r>
          </a:p>
        </p:txBody>
      </p:sp>
    </p:spTree>
    <p:extLst>
      <p:ext uri="{BB962C8B-B14F-4D97-AF65-F5344CB8AC3E}">
        <p14:creationId xmlns:p14="http://schemas.microsoft.com/office/powerpoint/2010/main" val="126038961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00000"/>
                </a:solidFill>
              </a:rPr>
              <a:t>Intercept Messag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607015-6DE8-43FF-AC7F-0B296BC987D4}"/>
              </a:ext>
            </a:extLst>
          </p:cNvPr>
          <p:cNvSpPr txBox="1"/>
          <p:nvPr/>
        </p:nvSpPr>
        <p:spPr>
          <a:xfrm>
            <a:off x="564706" y="1592260"/>
            <a:ext cx="10886395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2200" dirty="0">
                <a:solidFill>
                  <a:srgbClr val="080808"/>
                </a:solidFill>
                <a:latin typeface="+mj-lt"/>
              </a:rPr>
              <a:t>Middleware functionality enables your bot to intercept all messages that are exchanged between user and bot</a:t>
            </a:r>
          </a:p>
          <a:p>
            <a:pPr marL="342900" indent="-342900">
              <a:buFontTx/>
              <a:buChar char="-"/>
            </a:pPr>
            <a:endParaRPr lang="en-US" sz="22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200" dirty="0">
                <a:solidFill>
                  <a:srgbClr val="080808"/>
                </a:solidFill>
                <a:latin typeface="+mj-lt"/>
              </a:rPr>
              <a:t>For each message that is intercepted</a:t>
            </a:r>
          </a:p>
          <a:p>
            <a:pPr marL="809271" lvl="1" indent="-342900">
              <a:buFontTx/>
              <a:buChar char="-"/>
            </a:pPr>
            <a:r>
              <a:rPr lang="en-US" sz="2200" dirty="0">
                <a:solidFill>
                  <a:srgbClr val="080808"/>
                </a:solidFill>
                <a:latin typeface="+mj-lt"/>
              </a:rPr>
              <a:t>Save the message to data store</a:t>
            </a:r>
          </a:p>
          <a:p>
            <a:pPr marL="809271" lvl="1" indent="-342900">
              <a:buFontTx/>
              <a:buChar char="-"/>
            </a:pPr>
            <a:r>
              <a:rPr lang="en-US" sz="2200" dirty="0">
                <a:solidFill>
                  <a:srgbClr val="080808"/>
                </a:solidFill>
                <a:latin typeface="+mj-lt"/>
              </a:rPr>
              <a:t>Create a conversation log</a:t>
            </a:r>
          </a:p>
          <a:p>
            <a:endParaRPr lang="en-US" sz="2200" dirty="0">
              <a:solidFill>
                <a:srgbClr val="000000"/>
              </a:solidFill>
              <a:latin typeface="+mj-lt"/>
            </a:endParaRPr>
          </a:p>
          <a:p>
            <a:r>
              <a:rPr lang="en-US" sz="2000" u="sng" dirty="0">
                <a:solidFill>
                  <a:srgbClr val="3558C9"/>
                </a:solidFill>
                <a:latin typeface="+mj-lt"/>
                <a:hlinkClick r:id="rId3"/>
              </a:rPr>
              <a:t>https://github.com/Microsoft/BotBuilder-Samples/tree/master/CSharp/core-Middleware</a:t>
            </a:r>
            <a:endParaRPr lang="en-US" sz="2000" u="sng" dirty="0">
              <a:solidFill>
                <a:srgbClr val="3558C9"/>
              </a:solidFill>
              <a:latin typeface="+mj-lt"/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28" b="50000"/>
          <a:stretch/>
        </p:blipFill>
        <p:spPr bwMode="auto">
          <a:xfrm>
            <a:off x="5978591" y="4393027"/>
            <a:ext cx="6431732" cy="2601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367554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80808"/>
                </a:solidFill>
              </a:rPr>
              <a:t>Code Highlights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" r="313"/>
          <a:stretch/>
        </p:blipFill>
        <p:spPr bwMode="auto">
          <a:xfrm>
            <a:off x="118461" y="4798243"/>
            <a:ext cx="12151651" cy="2196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D607015-6DE8-43FF-AC7F-0B296BC987D4}"/>
              </a:ext>
            </a:extLst>
          </p:cNvPr>
          <p:cNvSpPr txBox="1"/>
          <p:nvPr/>
        </p:nvSpPr>
        <p:spPr>
          <a:xfrm>
            <a:off x="564706" y="1592260"/>
            <a:ext cx="11614725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2200" dirty="0">
                <a:solidFill>
                  <a:srgbClr val="080808"/>
                </a:solidFill>
                <a:latin typeface="+mj-lt"/>
              </a:rPr>
              <a:t>Implementation of the </a:t>
            </a:r>
            <a:r>
              <a:rPr lang="en-US" sz="2200" dirty="0" err="1">
                <a:solidFill>
                  <a:srgbClr val="080808"/>
                </a:solidFill>
                <a:latin typeface="+mj-lt"/>
              </a:rPr>
              <a:t>IActivityLogger</a:t>
            </a:r>
            <a:endParaRPr lang="en-US" sz="22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endParaRPr lang="en-US" sz="2200" dirty="0">
              <a:solidFill>
                <a:srgbClr val="080808"/>
              </a:solidFill>
              <a:latin typeface="+mj-lt"/>
              <a:cs typeface="Arial" pitchFamily="34" charset="0"/>
            </a:endParaRPr>
          </a:p>
          <a:p>
            <a:pPr marL="342900" indent="-342900">
              <a:buFontTx/>
              <a:buChar char="-"/>
            </a:pPr>
            <a:r>
              <a:rPr lang="en-US" sz="2200" dirty="0" err="1">
                <a:solidFill>
                  <a:srgbClr val="080808"/>
                </a:solidFill>
                <a:latin typeface="+mj-lt"/>
                <a:cs typeface="Arial" pitchFamily="34" charset="0"/>
              </a:rPr>
              <a:t>Microsoft.Bot.Builder.History</a:t>
            </a:r>
            <a:r>
              <a:rPr lang="en-US" sz="2200" dirty="0">
                <a:solidFill>
                  <a:srgbClr val="080808"/>
                </a:solidFill>
                <a:latin typeface="+mj-lt"/>
              </a:rPr>
              <a:t> namespace provides interfaces and classes for performing intercepts</a:t>
            </a:r>
          </a:p>
          <a:p>
            <a:pPr marL="342900" indent="-342900">
              <a:buFontTx/>
              <a:buChar char="-"/>
            </a:pPr>
            <a:endParaRPr lang="en-US" sz="220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200" dirty="0" err="1">
                <a:solidFill>
                  <a:srgbClr val="000000"/>
                </a:solidFill>
                <a:latin typeface="+mj-lt"/>
              </a:rPr>
              <a:t>IActivityLogger</a:t>
            </a:r>
            <a:r>
              <a:rPr lang="en-US" sz="2200" dirty="0">
                <a:solidFill>
                  <a:srgbClr val="000000"/>
                </a:solidFill>
                <a:latin typeface="+mj-lt"/>
              </a:rPr>
              <a:t>: Contains the definition of the functionality that a class needs to implement to log message activities</a:t>
            </a:r>
          </a:p>
          <a:p>
            <a:pPr marL="342900" indent="-342900">
              <a:buFontTx/>
              <a:buChar char="-"/>
            </a:pPr>
            <a:endParaRPr lang="en-US" sz="220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200" dirty="0">
                <a:solidFill>
                  <a:srgbClr val="000000"/>
                </a:solidFill>
                <a:latin typeface="+mj-lt"/>
              </a:rPr>
              <a:t>Log what you want in the </a:t>
            </a:r>
            <a:r>
              <a:rPr lang="en-US" sz="2200" dirty="0" err="1">
                <a:solidFill>
                  <a:srgbClr val="000000"/>
                </a:solidFill>
                <a:latin typeface="+mj-lt"/>
              </a:rPr>
              <a:t>LogAsync</a:t>
            </a:r>
            <a:r>
              <a:rPr lang="en-US" sz="2200" dirty="0">
                <a:solidFill>
                  <a:srgbClr val="000000"/>
                </a:solidFill>
                <a:latin typeface="+mj-lt"/>
              </a:rPr>
              <a:t> method</a:t>
            </a:r>
          </a:p>
          <a:p>
            <a:pPr marL="342900" indent="-342900">
              <a:buFontTx/>
              <a:buChar char="-"/>
            </a:pPr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6861778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00000"/>
                </a:solidFill>
              </a:rPr>
              <a:t>Life Cycle Even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607015-6DE8-43FF-AC7F-0B296BC987D4}"/>
              </a:ext>
            </a:extLst>
          </p:cNvPr>
          <p:cNvSpPr txBox="1"/>
          <p:nvPr/>
        </p:nvSpPr>
        <p:spPr>
          <a:xfrm>
            <a:off x="564706" y="1592260"/>
            <a:ext cx="10886395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Application life cycle</a:t>
            </a:r>
          </a:p>
          <a:p>
            <a:pPr algn="just"/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pPr marL="342900" indent="-342900" algn="just"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Application raises events that you can handle and calls particular methods that you can override</a:t>
            </a:r>
          </a:p>
          <a:p>
            <a:pPr algn="just"/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pPr marL="342900" indent="-342900" algn="just"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To handle application events, you can create a file named Global.asax in the root directory of your application</a:t>
            </a:r>
          </a:p>
          <a:p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r>
              <a:rPr lang="en-US" sz="2000" b="1" dirty="0">
                <a:solidFill>
                  <a:srgbClr val="000000"/>
                </a:solidFill>
                <a:latin typeface="+mj-lt"/>
              </a:rPr>
              <a:t>Application_Start Event</a:t>
            </a:r>
          </a:p>
          <a:p>
            <a:pPr marL="342900" indent="-342900">
              <a:buFontTx/>
              <a:buChar char="-"/>
            </a:pPr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Application_Start method is called only one time during the life cycle of an application</a:t>
            </a:r>
          </a:p>
          <a:p>
            <a:pPr marL="342900" indent="-342900">
              <a:buFontTx/>
              <a:buChar char="-"/>
            </a:pPr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Perform startup tasks</a:t>
            </a:r>
          </a:p>
          <a:p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r>
              <a:rPr lang="en-US" sz="2000" b="1" dirty="0">
                <a:solidFill>
                  <a:srgbClr val="000000"/>
                </a:solidFill>
                <a:latin typeface="+mj-lt"/>
              </a:rPr>
              <a:t>Application_End Event</a:t>
            </a:r>
          </a:p>
          <a:p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Called once per lifetime of the application before the application is unloaded</a:t>
            </a:r>
          </a:p>
        </p:txBody>
      </p:sp>
    </p:spTree>
    <p:extLst>
      <p:ext uri="{BB962C8B-B14F-4D97-AF65-F5344CB8AC3E}">
        <p14:creationId xmlns:p14="http://schemas.microsoft.com/office/powerpoint/2010/main" val="290517788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00000"/>
                </a:solidFill>
              </a:rPr>
              <a:t>Conclus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4E94E39-C5B6-4E8F-8576-A44E3DBB99BD}"/>
              </a:ext>
            </a:extLst>
          </p:cNvPr>
          <p:cNvSpPr txBox="1"/>
          <p:nvPr/>
        </p:nvSpPr>
        <p:spPr>
          <a:xfrm>
            <a:off x="564706" y="1592260"/>
            <a:ext cx="1088639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Chat history can be useful for advanced analytics and monitoring</a:t>
            </a: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 err="1">
                <a:solidFill>
                  <a:srgbClr val="080808"/>
                </a:solidFill>
                <a:latin typeface="+mj-lt"/>
              </a:rPr>
              <a:t>IActivityLogger</a:t>
            </a:r>
            <a:r>
              <a:rPr lang="en-US" sz="2400" dirty="0">
                <a:solidFill>
                  <a:srgbClr val="080808"/>
                </a:solidFill>
                <a:latin typeface="+mj-lt"/>
              </a:rPr>
              <a:t> interface to log</a:t>
            </a:r>
          </a:p>
          <a:p>
            <a:pPr marL="342900" indent="-342900">
              <a:buFontTx/>
              <a:buChar char="-"/>
            </a:pPr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Life Cycle Events in </a:t>
            </a:r>
            <a:r>
              <a:rPr lang="en-US" sz="2400" dirty="0" err="1">
                <a:solidFill>
                  <a:srgbClr val="080808"/>
                </a:solidFill>
                <a:latin typeface="+mj-lt"/>
              </a:rPr>
              <a:t>Global.asax</a:t>
            </a:r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Store logs anywhere</a:t>
            </a:r>
          </a:p>
        </p:txBody>
      </p:sp>
    </p:spTree>
    <p:extLst>
      <p:ext uri="{BB962C8B-B14F-4D97-AF65-F5344CB8AC3E}">
        <p14:creationId xmlns:p14="http://schemas.microsoft.com/office/powerpoint/2010/main" val="329701695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860494-B323-43FA-9F87-1B55842D0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17885"/>
            <a:ext cx="7114249" cy="917575"/>
          </a:xfrm>
        </p:spPr>
        <p:txBody>
          <a:bodyPr>
            <a:noAutofit/>
          </a:bodyPr>
          <a:lstStyle/>
          <a:p>
            <a:pPr algn="ctr"/>
            <a:br>
              <a:rPr lang="en-US" sz="7000" spc="-102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rPr>
            </a:br>
            <a:r>
              <a:rPr lang="en-US" sz="7200" b="1" dirty="0"/>
              <a:t>LAB: </a:t>
            </a:r>
            <a:br>
              <a:rPr lang="en-US" sz="7000" spc="-102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rPr>
            </a:br>
            <a:r>
              <a:rPr lang="en-US" sz="7200" b="1" dirty="0" err="1"/>
              <a:t>BotsLoggingLab</a:t>
            </a:r>
            <a:br>
              <a:rPr lang="en-US" sz="7200" dirty="0"/>
            </a:br>
            <a:endParaRPr lang="en-US" sz="7000" dirty="0">
              <a:latin typeface="+mn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54C80F-1BBA-40C4-B39C-2506D16142F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D728B5-9D75-462C-A194-C721431C3A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5764" y="295275"/>
            <a:ext cx="5225184" cy="607550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537BC3-5083-4E84-92CA-B19BAC962B6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7273"/>
          <a:stretch/>
        </p:blipFill>
        <p:spPr>
          <a:xfrm>
            <a:off x="7211291" y="4836092"/>
            <a:ext cx="5225184" cy="215843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36949DF-4B2B-4ACD-BE69-5AAD10350B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7273"/>
          <a:stretch/>
        </p:blipFill>
        <p:spPr>
          <a:xfrm>
            <a:off x="7211291" y="1"/>
            <a:ext cx="5225184" cy="174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61216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2.xml><?xml version="1.0" encoding="utf-8"?>
<a:theme xmlns:a="http://schemas.openxmlformats.org/drawingml/2006/main" name="1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3.xml><?xml version="1.0" encoding="utf-8"?>
<a:theme xmlns:a="http://schemas.openxmlformats.org/drawingml/2006/main" name="2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4.xml><?xml version="1.0" encoding="utf-8"?>
<a:theme xmlns:a="http://schemas.openxmlformats.org/drawingml/2006/main" name="FY15 Enterprise identity theme">
  <a:themeElements>
    <a:clrScheme name="Custom 30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505050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1_Windows Server">
  <a:themeElements>
    <a:clrScheme name="SQL Server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F2F2F2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6.xml><?xml version="1.0" encoding="utf-8"?>
<a:theme xmlns:a="http://schemas.openxmlformats.org/drawingml/2006/main" name="2_Windows Server">
  <a:themeElements>
    <a:clrScheme name="Custom 1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72C6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7.xml><?xml version="1.0" encoding="utf-8"?>
<a:theme xmlns:a="http://schemas.openxmlformats.org/drawingml/2006/main" name="3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79205F35F1AF40BCD07C4F58D4AC80" ma:contentTypeVersion="6" ma:contentTypeDescription="Create a new document." ma:contentTypeScope="" ma:versionID="a386001cfb475e71d9c289d83f4224ff">
  <xsd:schema xmlns:xsd="http://www.w3.org/2001/XMLSchema" xmlns:xs="http://www.w3.org/2001/XMLSchema" xmlns:p="http://schemas.microsoft.com/office/2006/metadata/properties" xmlns:ns1="http://schemas.microsoft.com/sharepoint/v3" xmlns:ns2="9bc6b55d-a734-43bd-8eab-fb065c703cf5" targetNamespace="http://schemas.microsoft.com/office/2006/metadata/properties" ma:root="true" ma:fieldsID="56d52bee22a2d005e8866caae1afc15c" ns1:_="" ns2:_="">
    <xsd:import namespace="http://schemas.microsoft.com/sharepoint/v3"/>
    <xsd:import namespace="9bc6b55d-a734-43bd-8eab-fb065c703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c6b55d-a734-43bd-8eab-fb065c703c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95CB9E75-A460-42D0-BC11-EC531E59AB2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5C990B1-552C-4BC2-8F55-9992DEBD02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bc6b55d-a734-43bd-8eab-fb065c703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383C830-5CE3-494B-8273-D209C7DDB282}">
  <ds:schemaRefs>
    <ds:schemaRef ds:uri="http://purl.org/dc/elements/1.1/"/>
    <ds:schemaRef ds:uri="http://schemas.openxmlformats.org/package/2006/metadata/core-properties"/>
    <ds:schemaRef ds:uri="9bc6b55d-a734-43bd-8eab-fb065c703cf5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tana%20Analytics_v1</Template>
  <TotalTime>0</TotalTime>
  <Words>354</Words>
  <Application>Microsoft Office PowerPoint</Application>
  <PresentationFormat>Custom</PresentationFormat>
  <Paragraphs>81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8" baseType="lpstr">
      <vt:lpstr>ＭＳ Ｐゴシック</vt:lpstr>
      <vt:lpstr>SimSun</vt:lpstr>
      <vt:lpstr>Arial</vt:lpstr>
      <vt:lpstr>Calibri</vt:lpstr>
      <vt:lpstr>Consolas</vt:lpstr>
      <vt:lpstr>Courier New</vt:lpstr>
      <vt:lpstr>Segoe Pro</vt:lpstr>
      <vt:lpstr>Segoe UI</vt:lpstr>
      <vt:lpstr>Segoe UI Light</vt:lpstr>
      <vt:lpstr>Segoe UI Semibold</vt:lpstr>
      <vt:lpstr>Wingdings</vt:lpstr>
      <vt:lpstr>COLOR TEMPLATE</vt:lpstr>
      <vt:lpstr>1_WHITE TEMPLATE</vt:lpstr>
      <vt:lpstr>2_WHITE TEMPLATE</vt:lpstr>
      <vt:lpstr>FY15 Enterprise identity theme</vt:lpstr>
      <vt:lpstr>1_Windows Server</vt:lpstr>
      <vt:lpstr>2_Windows Server</vt:lpstr>
      <vt:lpstr>3_WHITE TEMPLATE</vt:lpstr>
      <vt:lpstr>think-cell Slide</vt:lpstr>
      <vt:lpstr>Logging Chat Conversations  with  Bot Framewor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LAB:  BotsLoggingLab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29T18:21:09Z</dcterms:created>
  <dcterms:modified xsi:type="dcterms:W3CDTF">2017-11-28T01:4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79205F35F1AF40BCD07C4F58D4AC80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Ref">
    <vt:lpwstr>https://api.informationprotection.azure.com/api/72f988bf-86f1-41af-91ab-2d7cd011db47</vt:lpwstr>
  </property>
  <property fmtid="{D5CDD505-2E9C-101B-9397-08002B2CF9AE}" pid="6" name="MSIP_Label_f42aa342-8706-4288-bd11-ebb85995028c_Owner">
    <vt:lpwstr>miprasad@microsoft.com</vt:lpwstr>
  </property>
  <property fmtid="{D5CDD505-2E9C-101B-9397-08002B2CF9AE}" pid="7" name="MSIP_Label_f42aa342-8706-4288-bd11-ebb85995028c_SetDate">
    <vt:lpwstr>2017-07-16T21:13:54.0089843+12:00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</Properties>
</file>